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</p:sldMasterIdLst>
  <p:notesMasterIdLst>
    <p:notesMasterId r:id="rId3"/>
  </p:notesMasterIdLst>
  <p:handoutMasterIdLst>
    <p:handoutMasterId r:id="rId4"/>
  </p:handoutMasterIdLst>
  <p:sldIdLst>
    <p:sldId id="657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de-DE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de-DE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369747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61424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1620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91625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4904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96607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828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548573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87869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377100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717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16801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>
              <a:spcBef>
                <a:spcPts val="882"/>
              </a:spcBef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82"/>
              </a:spcBef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>
              <a:spcBef>
                <a:spcPts val="882"/>
              </a:spcBef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882"/>
              </a:spcBef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0545720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959764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53FA33B-0910-4F9C-8205-E2E891EC2B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53FA33B-0910-4F9C-8205-E2E891EC2B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E06363-6FF7-4C16-92CB-515EA58CE619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919069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07D3271C-A95A-4A29-AF43-23D706E9DDE0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26. Juni 2020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2A668E-F590-4EFE-92B0-C6F396AF5B8D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Seite </a:t>
            </a:r>
            <a:fld id="{5DAC678A-882D-453A-BC41-0D1B89FB7C6F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AD34E2DC-BE0F-4AA9-831E-2BE75D1DFFAA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D132EA85-9A61-477B-B72C-742405D20F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EB1C0459-8E61-45D7-970E-C964008E50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CAFD9EB-FE49-4624-AA72-41CC75B432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0951B175-1791-4D53-8335-244F71EA32AC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71D39D1C-A93D-44FF-A3CE-A884B8915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71D39D1C-A93D-44FF-A3CE-A884B89154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0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30985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429780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554757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24653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60077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043208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80311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BA13E6B5-4A76-40EC-B9C5-BE017B5E06C2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5380836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753" y="482369"/>
            <a:ext cx="8037489" cy="1018014"/>
          </a:xfrm>
        </p:spPr>
        <p:txBody>
          <a:bodyPr/>
          <a:lstStyle/>
          <a:p>
            <a:r>
              <a:rPr lang="fr-FR" altLang="fr-FR" dirty="0"/>
              <a:t>Weniger</a:t>
            </a:r>
            <a:r>
              <a:rPr dirty="0"/>
              <a:t> </a:t>
            </a:r>
            <a:r>
              <a:rPr lang="fr-FR" altLang="fr-FR" dirty="0"/>
              <a:t>Ausfallzeiten und verbesserte</a:t>
            </a:r>
            <a:r>
              <a:rPr dirty="0"/>
              <a:t> </a:t>
            </a:r>
            <a:r>
              <a:rPr lang="fr-FR" altLang="fr-FR" dirty="0"/>
              <a:t>Produktivität</a:t>
            </a:r>
            <a:endParaRPr lang="de-DE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6" y="1619792"/>
            <a:ext cx="7833296" cy="412280"/>
          </a:xfrm>
        </p:spPr>
        <p:txBody>
          <a:bodyPr/>
          <a:lstStyle/>
          <a:p>
            <a:r>
              <a:rPr lang="fr-FR" altLang="fr-FR" dirty="0">
                <a:solidFill>
                  <a:srgbClr val="000000"/>
                </a:solidFill>
              </a:rPr>
              <a:t>Hebel zum Öffnen/Schließen der Blasform mit</a:t>
            </a:r>
            <a:r>
              <a:rPr dirty="0"/>
              <a:t> </a:t>
            </a:r>
            <a:r>
              <a:rPr lang="fr-FR" altLang="fr-FR" dirty="0">
                <a:solidFill>
                  <a:srgbClr val="000000"/>
                </a:solidFill>
              </a:rPr>
              <a:t>Hydraulikklemmung</a:t>
            </a:r>
            <a:endParaRPr lang="de-DE" altLang="fr-FR" dirty="0">
              <a:solidFill>
                <a:srgbClr val="000000"/>
              </a:solidFill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7" y="2471501"/>
            <a:ext cx="4084115" cy="3812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hangingPunct="1">
              <a:spcBef>
                <a:spcPts val="283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Rasche und einfache Installation</a:t>
            </a:r>
            <a:endParaRPr lang="de-DE" altLang="fr-FR" sz="1323" b="0" kern="0" dirty="0">
              <a:solidFill>
                <a:srgbClr val="000000"/>
              </a:solidFill>
              <a:latin typeface="Arial"/>
            </a:endParaRPr>
          </a:p>
          <a:p>
            <a:pPr marL="172111" indent="-172111" defTabSz="1008126" eaLnBrk="1" hangingPunct="1">
              <a:spcBef>
                <a:spcPts val="283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Einstellung mit einer einzigen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Schraube, daher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Verringerung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r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Maschinenausfallzeiten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 </a:t>
            </a:r>
          </a:p>
          <a:p>
            <a:pPr marL="172111" indent="-172111" defTabSz="1008126" eaLnBrk="1" hangingPunct="1">
              <a:spcBef>
                <a:spcPts val="283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Verbessert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i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ebensdauer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r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Nocke zum Öffnen/Schließen der Blasform.</a:t>
            </a:r>
          </a:p>
          <a:p>
            <a:pPr marL="172111" indent="-172111" defTabSz="1008126" eaLnBrk="1" hangingPunct="1">
              <a:spcBef>
                <a:spcPts val="283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Über 1.000 möglich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>
                <a:solidFill>
                  <a:srgbClr val="000000"/>
                </a:solidFill>
                <a:latin typeface="Arial"/>
              </a:rPr>
              <a:t>Neueinstellungen</a:t>
            </a:r>
            <a:endParaRPr lang="de-DE" altLang="fr-FR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1500"/>
            <a:ext cx="4029732" cy="381299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hangingPunct="1">
              <a:spcBef>
                <a:spcPts val="283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Eine ETP-EXPRESS Hydraulikschraubklemmung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wird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n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Hebel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zum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Öffnen/Schließen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r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Blasform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tegriert.</a:t>
            </a:r>
          </a:p>
          <a:p>
            <a:pPr marL="172111" indent="-172111" defTabSz="1008126" eaLnBrk="1" hangingPunct="1">
              <a:spcBef>
                <a:spcPts val="283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Si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ersetzt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ie originale RLK Konus-Klemmvorrichtung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endParaRPr lang="de-DE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lvl="1" indent="-178888" defTabSz="895996" eaLnBrk="1" hangingPunct="1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de-DE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4FB22AC5-9197-4FBC-8762-AA1CDDB09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4341" y="3841651"/>
            <a:ext cx="1026672" cy="801683"/>
          </a:xfrm>
          <a:prstGeom prst="rect">
            <a:avLst/>
          </a:prstGeom>
        </p:spPr>
      </p:pic>
      <p:pic>
        <p:nvPicPr>
          <p:cNvPr id="11" name="Picture 25">
            <a:extLst>
              <a:ext uri="{FF2B5EF4-FFF2-40B4-BE49-F238E27FC236}">
                <a16:creationId xmlns:a16="http://schemas.microsoft.com/office/drawing/2014/main" id="{65A402BA-A958-41D0-B24A-8CAA77298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88" t="3653" b="5936"/>
          <a:stretch>
            <a:fillRect/>
          </a:stretch>
        </p:blipFill>
        <p:spPr bwMode="auto">
          <a:xfrm>
            <a:off x="6404032" y="4737228"/>
            <a:ext cx="1573987" cy="1253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Box 28">
            <a:extLst>
              <a:ext uri="{FF2B5EF4-FFF2-40B4-BE49-F238E27FC236}">
                <a16:creationId xmlns:a16="http://schemas.microsoft.com/office/drawing/2014/main" id="{308467ED-6672-4A0D-B093-5E5E39BAA4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78018" y="4408847"/>
            <a:ext cx="1353005" cy="348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hangingPunct="1">
              <a:spcBef>
                <a:spcPct val="50000"/>
              </a:spcBef>
            </a:pPr>
            <a:r>
              <a:rPr lang="fr-FR" altLang="fr-FR" sz="754" b="0" dirty="0">
                <a:solidFill>
                  <a:srgbClr val="FF6600"/>
                </a:solidFill>
                <a:latin typeface="Arial" panose="020B0604020202020204" pitchFamily="34" charset="0"/>
              </a:rPr>
              <a:t>SCHNELLES EINSTELLSYSTEM MIT NUR EINER SCHRAUBE</a:t>
            </a:r>
          </a:p>
        </p:txBody>
      </p:sp>
      <p:sp>
        <p:nvSpPr>
          <p:cNvPr id="13" name="Line 30">
            <a:extLst>
              <a:ext uri="{FF2B5EF4-FFF2-40B4-BE49-F238E27FC236}">
                <a16:creationId xmlns:a16="http://schemas.microsoft.com/office/drawing/2014/main" id="{E86A07B2-57E2-4EC7-A68A-95F3CBB6197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78298" y="4080470"/>
            <a:ext cx="44900" cy="656757"/>
          </a:xfrm>
          <a:prstGeom prst="line">
            <a:avLst/>
          </a:prstGeom>
          <a:noFill/>
          <a:ln w="12700">
            <a:solidFill>
              <a:srgbClr val="FF66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hangingPunct="1"/>
            <a:endParaRPr lang="fr-FR" sz="1037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hteck 3">
            <a:extLst>
              <a:ext uri="{FF2B5EF4-FFF2-40B4-BE49-F238E27FC236}">
                <a16:creationId xmlns:a16="http://schemas.microsoft.com/office/drawing/2014/main" id="{46DEA390-E2A8-4657-BAF1-F47A16483850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862048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 charset="0"/>
              </a:rPr>
              <a:t>NUTZEN UND VORTEILE</a:t>
            </a: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F35CE65F-C724-4E19-B113-4B4EF2B4C4FB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179594" indent="-179594" defTabSz="862048" eaLnBrk="1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BESCHREIBUNG</a:t>
            </a:r>
            <a:endParaRPr lang="fr-FR" altLang="de-DE" sz="1544" b="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F299C1B-4C58-4B31-9A08-3A6726E44FEE}"/>
              </a:ext>
            </a:extLst>
          </p:cNvPr>
          <p:cNvSpPr txBox="1">
            <a:spLocks/>
          </p:cNvSpPr>
          <p:nvPr/>
        </p:nvSpPr>
        <p:spPr bwMode="auto">
          <a:xfrm>
            <a:off x="1320752" y="6319279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</a:pPr>
            <a:r>
              <a:rPr lang="en-GB" altLang="fr-FR" sz="882" b="0" dirty="0" err="1">
                <a:solidFill>
                  <a:srgbClr val="000000"/>
                </a:solidFill>
              </a:rPr>
              <a:t>Nutzen</a:t>
            </a:r>
            <a:r>
              <a:rPr lang="en-GB" altLang="fr-FR" sz="882" b="0" dirty="0">
                <a:solidFill>
                  <a:srgbClr val="000000"/>
                </a:solidFill>
              </a:rPr>
              <a:t>: Effizienz, Wartung</a:t>
            </a:r>
          </a:p>
          <a:p>
            <a:pPr defTabSz="895996" eaLnBrk="1" hangingPunct="1">
              <a:spcBef>
                <a:spcPct val="20000"/>
              </a:spcBef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Ausrüstung: Matrix-Blasmaschinen </a:t>
            </a:r>
          </a:p>
          <a:p>
            <a:pPr defTabSz="895996" eaLnBrk="1" hangingPunct="1">
              <a:spcBef>
                <a:spcPct val="20000"/>
              </a:spcBef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Katalog-Code: 2023</a:t>
            </a:r>
          </a:p>
        </p:txBody>
      </p:sp>
    </p:spTree>
    <p:extLst>
      <p:ext uri="{BB962C8B-B14F-4D97-AF65-F5344CB8AC3E}">
        <p14:creationId xmlns:p14="http://schemas.microsoft.com/office/powerpoint/2010/main" val="2980849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Pages>1</Pages>
  <Words>86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Weniger Ausfallzeiten und verbesserte Produktivität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6</cp:revision>
  <cp:lastPrinted>2016-08-02T08:13:06Z</cp:lastPrinted>
  <dcterms:created xsi:type="dcterms:W3CDTF">2009-07-10T13:59:45Z</dcterms:created>
  <dcterms:modified xsi:type="dcterms:W3CDTF">2020-06-26T12:3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6-26T12:39:58.159321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29T17:12:30.0663802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29T17:12:30.0663802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